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6.xml" ContentType="application/vnd.openxmlformats-officedocument.themeOverride+xml"/>
  <Override PartName="/ppt/tags/tag69.xml" ContentType="application/vnd.openxmlformats-officedocument.presentationml.tags+xml"/>
  <Override PartName="/ppt/theme/themeOverride7.xml" ContentType="application/vnd.openxmlformats-officedocument.themeOverride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heme/themeOverride9.xml" ContentType="application/vnd.openxmlformats-officedocument.themeOverride+xml"/>
  <Override PartName="/ppt/tags/tag72.xml" ContentType="application/vnd.openxmlformats-officedocument.presentationml.tags+xml"/>
  <Override PartName="/ppt/theme/themeOverride10.xml" ContentType="application/vnd.openxmlformats-officedocument.themeOverride+xml"/>
  <Override PartName="/ppt/tags/tag73.xml" ContentType="application/vnd.openxmlformats-officedocument.presentationml.tags+xml"/>
  <Override PartName="/ppt/theme/themeOverride11.xml" ContentType="application/vnd.openxmlformats-officedocument.themeOverride+xml"/>
  <Override PartName="/ppt/tags/tag74.xml" ContentType="application/vnd.openxmlformats-officedocument.presentationml.tags+xml"/>
  <Override PartName="/ppt/theme/themeOverride12.xml" ContentType="application/vnd.openxmlformats-officedocument.themeOverride+xml"/>
  <Override PartName="/ppt/tags/tag75.xml" ContentType="application/vnd.openxmlformats-officedocument.presentationml.tags+xml"/>
  <Override PartName="/ppt/theme/themeOverride13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14.xml" ContentType="application/vnd.openxmlformats-officedocument.themeOverride+xml"/>
  <Override PartName="/ppt/tags/tag79.xml" ContentType="application/vnd.openxmlformats-officedocument.presentationml.tags+xml"/>
  <Override PartName="/ppt/theme/themeOverride15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17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Override18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19.xml" ContentType="application/vnd.openxmlformats-officedocument.themeOverride+xml"/>
  <Override PartName="/ppt/tags/tag117.xml" ContentType="application/vnd.openxmlformats-officedocument.presentationml.tags+xml"/>
  <Override PartName="/ppt/theme/themeOverride20.xml" ContentType="application/vnd.openxmlformats-officedocument.themeOverride+xml"/>
  <Override PartName="/ppt/tags/tag118.xml" ContentType="application/vnd.openxmlformats-officedocument.presentationml.tags+xml"/>
  <Override PartName="/ppt/theme/themeOverride21.xml" ContentType="application/vnd.openxmlformats-officedocument.themeOverride+xml"/>
  <Override PartName="/ppt/tags/tag119.xml" ContentType="application/vnd.openxmlformats-officedocument.presentationml.tags+xml"/>
  <Override PartName="/ppt/theme/themeOverride22.xml" ContentType="application/vnd.openxmlformats-officedocument.themeOverride+xml"/>
  <Override PartName="/ppt/tags/tag120.xml" ContentType="application/vnd.openxmlformats-officedocument.presentationml.tags+xml"/>
  <Override PartName="/ppt/theme/themeOverride23.xml" ContentType="application/vnd.openxmlformats-officedocument.themeOverride+xml"/>
  <Override PartName="/ppt/tags/tag121.xml" ContentType="application/vnd.openxmlformats-officedocument.presentationml.tags+xml"/>
  <Override PartName="/ppt/theme/themeOverride24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25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26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27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2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29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30.xml" ContentType="application/vnd.openxmlformats-officedocument.themeOverride+xml"/>
  <Override PartName="/ppt/tags/tag146.xml" ContentType="application/vnd.openxmlformats-officedocument.presentationml.tags+xml"/>
  <Override PartName="/ppt/theme/themeOverride31.xml" ContentType="application/vnd.openxmlformats-officedocument.themeOverride+xml"/>
  <Override PartName="/ppt/tags/tag147.xml" ContentType="application/vnd.openxmlformats-officedocument.presentationml.tags+xml"/>
  <Override PartName="/ppt/theme/themeOverride32.xml" ContentType="application/vnd.openxmlformats-officedocument.themeOverride+xml"/>
  <Override PartName="/ppt/tags/tag148.xml" ContentType="application/vnd.openxmlformats-officedocument.presentationml.tags+xml"/>
  <Override PartName="/ppt/theme/themeOverride33.xml" ContentType="application/vnd.openxmlformats-officedocument.themeOverride+xml"/>
  <Override PartName="/ppt/tags/tag149.xml" ContentType="application/vnd.openxmlformats-officedocument.presentationml.tags+xml"/>
  <Override PartName="/ppt/theme/themeOverride34.xml" ContentType="application/vnd.openxmlformats-officedocument.themeOverride+xml"/>
  <Override PartName="/ppt/tags/tag150.xml" ContentType="application/vnd.openxmlformats-officedocument.presentationml.tags+xml"/>
  <Override PartName="/ppt/theme/themeOverride35.xml" ContentType="application/vnd.openxmlformats-officedocument.themeOverride+xml"/>
  <Override PartName="/ppt/tags/tag151.xml" ContentType="application/vnd.openxmlformats-officedocument.presentationml.tags+xml"/>
  <Override PartName="/ppt/theme/themeOverride36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Override37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38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Override39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Override4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41.xml" ContentType="application/vnd.openxmlformats-officedocument.themeOverride+xml"/>
  <Override PartName="/ppt/tags/tag164.xml" ContentType="application/vnd.openxmlformats-officedocument.presentationml.tags+xml"/>
  <Override PartName="/ppt/theme/themeOverride42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43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Override44.xml" ContentType="application/vnd.openxmlformats-officedocument.themeOverride+xml"/>
  <Override PartName="/ppt/tags/tag172.xml" ContentType="application/vnd.openxmlformats-officedocument.presentationml.tags+xml"/>
  <Override PartName="/ppt/theme/themeOverride45.xml" ContentType="application/vnd.openxmlformats-officedocument.themeOverride+xml"/>
  <Override PartName="/ppt/tags/tag173.xml" ContentType="application/vnd.openxmlformats-officedocument.presentationml.tags+xml"/>
  <Override PartName="/ppt/theme/themeOverride46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47.xml" ContentType="application/vnd.openxmlformats-officedocument.themeOverride+xml"/>
  <Override PartName="/ppt/tags/tag179.xml" ContentType="application/vnd.openxmlformats-officedocument.presentationml.tags+xml"/>
  <Override PartName="/ppt/theme/themeOverride48.xml" ContentType="application/vnd.openxmlformats-officedocument.themeOverride+xml"/>
  <Override PartName="/ppt/tags/tag1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6"/>
  </p:notesMasterIdLst>
  <p:handoutMasterIdLst>
    <p:handoutMasterId r:id="rId7"/>
  </p:handoutMasterIdLst>
  <p:sldIdLst>
    <p:sldId id="326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ask 4: Findings and recommendations" id="{283D8245-3E26-0D49-8F11-1A55FD89C9FB}">
          <p14:sldIdLst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E92315-A189-DFBC-F8DF-C82030BB4286}" name="Scobee, Kyle" initials="SK" userId="S::scobee.kyle@bcg.com::fe7dc999-1fed-49a0-ad5f-78e1a12bba62" providerId="AD"/>
  <p188:author id="{F4527C34-1A15-261F-02E5-14066F41051A}" name="Denice, Jenna" initials="DJ" userId="S::denice.jenna@bcg.com::1e9e1b01-4324-46cb-8a34-165a60733b49" providerId="AD"/>
  <p188:author id="{C767D242-0231-7603-8FA9-3E8D19B6F99F}" name="Sztorc, Samantha" initials="SS" userId="Sztorc, Samantha" providerId="None"/>
  <p188:author id="{68802E86-7858-603E-CA54-A9742345CC56}" name="Crawford, Cara (US SCA)" initials="CS" userId="S::crawford.cara@bcgfed.com::49e79fe1-8e9b-41ea-b8e5-a86eb4180139" providerId="AD"/>
  <p188:author id="{596774D7-9773-B774-062C-F7E5C0D62787}" name="Denice, Jenna" initials="DJ" userId="S::Denice.Jenna@bcg.com::1e9e1b01-4324-46cb-8a34-165a60733b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76E"/>
    <a:srgbClr val="A5A5A9"/>
    <a:srgbClr val="E4E4E9"/>
    <a:srgbClr val="14E7E7"/>
    <a:srgbClr val="492DFF"/>
    <a:srgbClr val="6E77FB"/>
    <a:srgbClr val="67676B"/>
    <a:srgbClr val="00E1B6"/>
    <a:srgbClr val="2A179E"/>
    <a:srgbClr val="83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C76F9-053B-414B-8D9C-740983D28B5E}" v="8" dt="2025-06-05T12:58:30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64"/>
    <p:restoredTop sz="94680"/>
  </p:normalViewPr>
  <p:slideViewPr>
    <p:cSldViewPr snapToGrid="0">
      <p:cViewPr>
        <p:scale>
          <a:sx n="66" d="100"/>
          <a:sy n="66" d="100"/>
        </p:scale>
        <p:origin x="1670" y="31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obee, Kyle" userId="fe7dc999-1fed-49a0-ad5f-78e1a12bba62" providerId="ADAL" clId="{49DC76F9-053B-414B-8D9C-740983D28B5E}"/>
    <pc:docChg chg="undo custSel modSld modMainMaster">
      <pc:chgData name="Scobee, Kyle" userId="fe7dc999-1fed-49a0-ad5f-78e1a12bba62" providerId="ADAL" clId="{49DC76F9-053B-414B-8D9C-740983D28B5E}" dt="2025-06-05T12:59:24.161" v="26" actId="478"/>
      <pc:docMkLst>
        <pc:docMk/>
      </pc:docMkLst>
      <pc:sldChg chg="delSp modSp mod modClrScheme chgLayout">
        <pc:chgData name="Scobee, Kyle" userId="fe7dc999-1fed-49a0-ad5f-78e1a12bba62" providerId="ADAL" clId="{49DC76F9-053B-414B-8D9C-740983D28B5E}" dt="2025-06-05T12:59:24.161" v="26" actId="478"/>
        <pc:sldMkLst>
          <pc:docMk/>
          <pc:sldMk cId="2916201089" sldId="326"/>
        </pc:sldMkLst>
        <pc:spChg chg="mod ord">
          <ac:chgData name="Scobee, Kyle" userId="fe7dc999-1fed-49a0-ad5f-78e1a12bba62" providerId="ADAL" clId="{49DC76F9-053B-414B-8D9C-740983D28B5E}" dt="2025-06-05T12:59:21.886" v="25" actId="1076"/>
          <ac:spMkLst>
            <pc:docMk/>
            <pc:sldMk cId="2916201089" sldId="326"/>
            <ac:spMk id="2" creationId="{09BD7C73-15F2-8A33-960F-52876D5F436A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3" creationId="{6414FF01-B984-BA29-0FBF-A777DE3BB38A}"/>
          </ac:spMkLst>
        </pc:spChg>
        <pc:spChg chg="mod or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4" creationId="{91E440D0-A89D-536C-C5F2-497D77CC7A61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5" creationId="{36C091D0-7CF7-857D-0E4F-BEE4E0AD932A}"/>
          </ac:spMkLst>
        </pc:spChg>
        <pc:spChg chg="del mod">
          <ac:chgData name="Scobee, Kyle" userId="fe7dc999-1fed-49a0-ad5f-78e1a12bba62" providerId="ADAL" clId="{49DC76F9-053B-414B-8D9C-740983D28B5E}" dt="2025-06-05T12:59:24.161" v="26" actId="478"/>
          <ac:spMkLst>
            <pc:docMk/>
            <pc:sldMk cId="2916201089" sldId="326"/>
            <ac:spMk id="6" creationId="{9C9AEEFE-9CB1-8277-B968-8895063B6A3B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7" creationId="{93BE8012-92F6-7E54-1D91-7EB03DEF2216}"/>
          </ac:spMkLst>
        </pc:spChg>
        <pc:spChg chg="del mod">
          <ac:chgData name="Scobee, Kyle" userId="fe7dc999-1fed-49a0-ad5f-78e1a12bba62" providerId="ADAL" clId="{49DC76F9-053B-414B-8D9C-740983D28B5E}" dt="2025-06-05T12:59:15.193" v="23" actId="478"/>
          <ac:spMkLst>
            <pc:docMk/>
            <pc:sldMk cId="2916201089" sldId="326"/>
            <ac:spMk id="37" creationId="{34C06A6A-5F25-99D8-7BD0-AFA79AF2139F}"/>
          </ac:spMkLst>
        </pc:spChg>
        <pc:spChg chg="del mod">
          <ac:chgData name="Scobee, Kyle" userId="fe7dc999-1fed-49a0-ad5f-78e1a12bba62" providerId="ADAL" clId="{49DC76F9-053B-414B-8D9C-740983D28B5E}" dt="2025-06-05T12:58:50.452" v="19" actId="478"/>
          <ac:spMkLst>
            <pc:docMk/>
            <pc:sldMk cId="2916201089" sldId="326"/>
            <ac:spMk id="42" creationId="{00E26326-A6AB-0A55-5D2E-5047923F0107}"/>
          </ac:spMkLst>
        </pc:spChg>
        <pc:picChg chg="del mod">
          <ac:chgData name="Scobee, Kyle" userId="fe7dc999-1fed-49a0-ad5f-78e1a12bba62" providerId="ADAL" clId="{49DC76F9-053B-414B-8D9C-740983D28B5E}" dt="2025-06-05T12:59:15.193" v="23" actId="478"/>
          <ac:picMkLst>
            <pc:docMk/>
            <pc:sldMk cId="2916201089" sldId="326"/>
            <ac:picMk id="49" creationId="{53266E17-55C1-D69A-EA57-93E60BAE6515}"/>
          </ac:picMkLst>
        </pc:picChg>
      </pc:sldChg>
      <pc:sldMasterChg chg="modSldLayout">
        <pc:chgData name="Scobee, Kyle" userId="fe7dc999-1fed-49a0-ad5f-78e1a12bba62" providerId="ADAL" clId="{49DC76F9-053B-414B-8D9C-740983D28B5E}" dt="2025-06-05T12:58:07.071" v="8"/>
        <pc:sldMasterMkLst>
          <pc:docMk/>
          <pc:sldMasterMk cId="835336367" sldId="2147485117"/>
        </pc:sldMasterMkLst>
        <pc:sldLayoutChg chg="addSp delSp modSp mod">
          <pc:chgData name="Scobee, Kyle" userId="fe7dc999-1fed-49a0-ad5f-78e1a12bba62" providerId="ADAL" clId="{49DC76F9-053B-414B-8D9C-740983D28B5E}" dt="2025-06-05T12:58:07.071" v="8"/>
          <pc:sldLayoutMkLst>
            <pc:docMk/>
            <pc:sldMasterMk cId="835336367" sldId="2147485117"/>
            <pc:sldLayoutMk cId="4248801636" sldId="2147485255"/>
          </pc:sldLayoutMkLst>
          <pc:spChg chg="del">
            <ac:chgData name="Scobee, Kyle" userId="fe7dc999-1fed-49a0-ad5f-78e1a12bba62" providerId="ADAL" clId="{49DC76F9-053B-414B-8D9C-740983D28B5E}" dt="2025-06-05T12:57:24.886" v="0" actId="478"/>
            <ac:spMkLst>
              <pc:docMk/>
              <pc:sldMasterMk cId="835336367" sldId="2147485117"/>
              <pc:sldLayoutMk cId="4248801636" sldId="2147485255"/>
              <ac:spMk id="2" creationId="{3B8BA228-C5CD-E096-B509-A87C028D7A69}"/>
            </ac:spMkLst>
          </pc:spChg>
          <pc:spChg chg="del">
            <ac:chgData name="Scobee, Kyle" userId="fe7dc999-1fed-49a0-ad5f-78e1a12bba62" providerId="ADAL" clId="{49DC76F9-053B-414B-8D9C-740983D28B5E}" dt="2025-06-05T12:57:29.243" v="2" actId="478"/>
            <ac:spMkLst>
              <pc:docMk/>
              <pc:sldMasterMk cId="835336367" sldId="2147485117"/>
              <pc:sldLayoutMk cId="4248801636" sldId="2147485255"/>
              <ac:spMk id="3" creationId="{956ABE40-D2CE-C226-225B-2DF991242D23}"/>
            </ac:spMkLst>
          </pc:spChg>
          <pc:spChg chg="add mod">
            <ac:chgData name="Scobee, Kyle" userId="fe7dc999-1fed-49a0-ad5f-78e1a12bba62" providerId="ADAL" clId="{49DC76F9-053B-414B-8D9C-740983D28B5E}" dt="2025-06-05T12:57:25.443" v="1"/>
            <ac:spMkLst>
              <pc:docMk/>
              <pc:sldMasterMk cId="835336367" sldId="2147485117"/>
              <pc:sldLayoutMk cId="4248801636" sldId="2147485255"/>
              <ac:spMk id="4" creationId="{B2B4902E-83AE-DFAE-FB2D-C5AAC10A8193}"/>
            </ac:spMkLst>
          </pc:spChg>
          <pc:spChg chg="add del mod">
            <ac:chgData name="Scobee, Kyle" userId="fe7dc999-1fed-49a0-ad5f-78e1a12bba62" providerId="ADAL" clId="{49DC76F9-053B-414B-8D9C-740983D28B5E}" dt="2025-06-05T12:58:07.071" v="8"/>
            <ac:spMkLst>
              <pc:docMk/>
              <pc:sldMasterMk cId="835336367" sldId="2147485117"/>
              <pc:sldLayoutMk cId="4248801636" sldId="2147485255"/>
              <ac:spMk id="5" creationId="{8306793A-5DA2-7975-320A-50E0A0A7E0E6}"/>
            </ac:spMkLst>
          </pc:spChg>
          <pc:spChg chg="add mod">
            <ac:chgData name="Scobee, Kyle" userId="fe7dc999-1fed-49a0-ad5f-78e1a12bba62" providerId="ADAL" clId="{49DC76F9-053B-414B-8D9C-740983D28B5E}" dt="2025-06-05T12:57:25.443" v="1"/>
            <ac:spMkLst>
              <pc:docMk/>
              <pc:sldMasterMk cId="835336367" sldId="2147485117"/>
              <pc:sldLayoutMk cId="4248801636" sldId="2147485255"/>
              <ac:spMk id="6" creationId="{F059FBA2-F353-84F6-E090-FF1952420E92}"/>
            </ac:spMkLst>
          </pc:spChg>
          <pc:spChg chg="add mod">
            <ac:chgData name="Scobee, Kyle" userId="fe7dc999-1fed-49a0-ad5f-78e1a12bba62" providerId="ADAL" clId="{49DC76F9-053B-414B-8D9C-740983D28B5E}" dt="2025-06-05T12:57:45.865" v="5"/>
            <ac:spMkLst>
              <pc:docMk/>
              <pc:sldMasterMk cId="835336367" sldId="2147485117"/>
              <pc:sldLayoutMk cId="4248801636" sldId="2147485255"/>
              <ac:spMk id="8" creationId="{C3E9D49A-9C1D-ADFD-E0F1-55D1319A4BA0}"/>
            </ac:spMkLst>
          </pc:spChg>
          <pc:spChg chg="add mod">
            <ac:chgData name="Scobee, Kyle" userId="fe7dc999-1fed-49a0-ad5f-78e1a12bba62" providerId="ADAL" clId="{49DC76F9-053B-414B-8D9C-740983D28B5E}" dt="2025-06-05T12:58:04.950" v="7"/>
            <ac:spMkLst>
              <pc:docMk/>
              <pc:sldMasterMk cId="835336367" sldId="2147485117"/>
              <pc:sldLayoutMk cId="4248801636" sldId="2147485255"/>
              <ac:spMk id="9" creationId="{9CCC2454-ABC6-A3C3-D74A-5617FC9A1E80}"/>
            </ac:spMkLst>
          </pc:spChg>
          <pc:picChg chg="add mod">
            <ac:chgData name="Scobee, Kyle" userId="fe7dc999-1fed-49a0-ad5f-78e1a12bba62" providerId="ADAL" clId="{49DC76F9-053B-414B-8D9C-740983D28B5E}" dt="2025-06-05T12:57:25.443" v="1"/>
            <ac:picMkLst>
              <pc:docMk/>
              <pc:sldMasterMk cId="835336367" sldId="2147485117"/>
              <pc:sldLayoutMk cId="4248801636" sldId="2147485255"/>
              <ac:picMk id="7" creationId="{D14EC2E1-6018-1F28-C71A-1CE5666C310E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8/3/20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8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3F60A-23D3-3344-1EDD-B7D8F567C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5857F4-8664-62F3-FFD1-FB4A57CF77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D52810-843C-EC23-6DA1-2D80C71F82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24E89-7F0D-E93E-F1D2-F8AB8E25B6C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Notes view: </a:t>
            </a:r>
            <a:fld id="{00000000-1234-1234-1234-123412341234}" type="slidenum">
              <a:rPr lang="en-US" sz="1400" b="0" i="0" u="none" strike="noStrike" cap="none" smtClean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0</a:t>
            </a:fld>
            <a:endParaRPr sz="14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8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4" Type="http://schemas.openxmlformats.org/officeDocument/2006/relationships/image" Target="../media/image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4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5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hemeOverride" Target="../theme/themeOverride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58.png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hemeOverride" Target="../theme/themeOverride4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4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9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0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33.png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5" Type="http://schemas.openxmlformats.org/officeDocument/2006/relationships/image" Target="../media/image34.jpe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35.jpeg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5" Type="http://schemas.openxmlformats.org/officeDocument/2006/relationships/image" Target="../media/image36.jpeg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7.jpe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38.jpeg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9.jpeg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5" Type="http://schemas.openxmlformats.org/officeDocument/2006/relationships/image" Target="../media/image40.jpe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41.jpe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2.jpeg"/><Relationship Id="rId2" Type="http://schemas.openxmlformats.org/officeDocument/2006/relationships/tags" Target="../tags/tag70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4.png"/><Relationship Id="rId2" Type="http://schemas.openxmlformats.org/officeDocument/2006/relationships/tags" Target="../tags/tag72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6.jpeg"/><Relationship Id="rId2" Type="http://schemas.openxmlformats.org/officeDocument/2006/relationships/tags" Target="../tags/tag7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7.jpeg"/><Relationship Id="rId2" Type="http://schemas.openxmlformats.org/officeDocument/2006/relationships/tags" Target="../tags/tag7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4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6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4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9.png"/><Relationship Id="rId5" Type="http://schemas.openxmlformats.org/officeDocument/2006/relationships/image" Target="../media/image50.jpe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9.png"/><Relationship Id="rId5" Type="http://schemas.openxmlformats.org/officeDocument/2006/relationships/image" Target="../media/image51.jpeg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5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6" Type="http://schemas.openxmlformats.org/officeDocument/2006/relationships/image" Target="../media/image62.png"/><Relationship Id="rId5" Type="http://schemas.openxmlformats.org/officeDocument/2006/relationships/image" Target="../media/image63.png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7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8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9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F68A1FE-0ADA-40E5-8DEC-5CBA3D600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F899E99-8899-433B-917A-E2210D4948F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6EDB98C5-D7BE-4C40-9A2F-B1D6DD47EC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CEB0F6-9E52-4856-9623-686C6B7D0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4F334D6-511D-4B62-85DA-2CEA459D78B6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587612-7D59-4DA3-ACA7-83DB81A1EA0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07B815-82AF-49AD-8E7A-F6908E22432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B5DBD7-AE44-4A19-A22F-91ACCE9FC002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89248675-F62D-4D3E-8670-4967D23776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E297433-9EBF-49AC-89C8-A8DCFEB6C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09EC58-6BD6-4B73-9679-36978BF46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884109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44D80E-A764-42CD-9CA9-0EFD21AE5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713984" y="381339"/>
            <a:ext cx="6858001" cy="60953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840BFA-39E6-4AA5-891B-5E1DBE6A6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678372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825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1D6334D-B2C9-4E5C-ABAC-EDE37B368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6B5EF18-F752-4C48-976F-031DBA479D7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713A87-D8E5-477A-84E1-37CD06C362D0}"/>
              </a:ext>
            </a:extLst>
          </p:cNvPr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44E95725-A47E-4399-90C6-E226F9730B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8B9AB80-5F67-4E99-B002-B165D2140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9D9EFAC-01FA-49FF-8971-74F52CB9D825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ED80F7-F8C4-440D-AFDA-0FD6C5628CD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979B0B4-AC6A-46B5-901B-48F55FDA5EF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9AF1BCE-1DD1-49CD-AB12-8CB3FE97630D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46CD259-F961-402F-B6E4-69FF8ACE20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5BC8F22-D2A7-41FE-8709-82B7C2445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51C10F6-C3DC-4562-845F-1077C4A19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F6A82A-717A-4945-BB23-54878D6C9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707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F6A82A-717A-4945-BB23-54878D6C9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5EC6C-0240-43BD-A3CA-B94B33427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54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5EC6C-0240-43BD-A3CA-B94B33427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F9216-34A7-4F1B-A164-645DC9D5FC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14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F9216-34A7-4F1B-A164-645DC9D5FC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1B4FB1-7995-4DFF-854B-3DBBF0C17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0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B1B4FB1-7995-4DFF-854B-3DBBF0C17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819F2C-7D30-42F4-BDF1-9D551A225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016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819F2C-7D30-42F4-BDF1-9D551A225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E33E8A-2B34-4F5E-BF5B-2034D50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E33E8A-2B34-4F5E-BF5B-2034D50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CE20-3266-4922-9FF7-1C2BB2346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8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CE20-3266-4922-9FF7-1C2BB234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97EF9-3016-4F8E-9A84-460A12425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4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97EF9-3016-4F8E-9A84-460A12425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AEB61-B9B6-4292-81FB-67CC88021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5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AEB61-B9B6-4292-81FB-67CC88021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33963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D5DAB2-551D-4C3B-90EE-723E61D253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6653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7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E49B44-7787-4C20-800B-C236D4A07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59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E49B44-7787-4C20-800B-C236D4A07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9526F-8868-4BA1-AD04-8868AC972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9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9526F-8868-4BA1-AD04-8868AC972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370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188EACD-0662-475D-B6BC-C3216D48C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91D2DE-BB1D-40B5-950F-1880C5912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33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91D2DE-BB1D-40B5-950F-1880C5912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2829CE-C285-4492-97D2-EA2C59DC2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10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2829CE-C285-4492-97D2-EA2C59DC2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D4EDC2-EE2D-4200-8A52-DDFA83D5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00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D4EDC2-EE2D-4200-8A52-DDFA83D5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CAB67E-5D58-4251-862F-05D47C56B7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40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CAB67E-5D58-4251-862F-05D47C56B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9729AF-7F82-4CE6-AC58-5FFE962DE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7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9729AF-7F82-4CE6-AC58-5FFE962DE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AFE1C5-C112-4B3A-A102-794066C8D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32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AFE1C5-C112-4B3A-A102-794066C8D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B9B9F5-E904-4534-9E34-4E166A29C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6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B9B9F5-E904-4534-9E34-4E166A29C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096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6CEEEE9-5895-498A-A309-86690F314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63434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509AAD-F6E0-4DC6-8B4B-334955466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509AAD-F6E0-4DC6-8B4B-334955466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886B2E-AC6F-4FF0-96A9-CAF35B584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62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886B2E-AC6F-4FF0-96A9-CAF35B584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568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7CDD7-5E8D-425D-ADEF-37EAD41B7D81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C02B0B-66B0-426C-8FEC-670742242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617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C02B0B-66B0-426C-8FEC-670742242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9D1F7A-E25E-467D-B61E-64916C3D7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9D1F7A-E25E-467D-B61E-64916C3D7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D651BE-D96B-495E-99A7-F9787064CC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028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D651BE-D96B-495E-99A7-F9787064C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3BDE81-248D-498E-AA73-F9BAC2696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3BDE81-248D-498E-AA73-F9BAC2696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E0E40E-B8A6-4AA7-A8D0-AB274566FC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441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E0E40E-B8A6-4AA7-A8D0-AB274566F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2CBB161-AA58-4461-BF56-A96454313F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78BBEF8-6DEC-4D63-AD1C-D1800CC45F9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21FA14-3EBA-49A2-9852-682B214F2537}"/>
              </a:ext>
            </a:extLst>
          </p:cNvPr>
          <p:cNvCxnSpPr/>
          <p:nvPr userDrawn="1"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93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184CD5-9B9F-464B-8C76-6A19BB16E9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3B05542-83B9-4911-87D3-B3EC5496A5CB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1562DA-750F-4D77-BE60-0648D3CCAB7A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882D84-E891-43E8-B2F8-40E83A5C76C9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D3B8FF-A659-4EC0-ACCD-535FCF3CE28E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6" name="Title 2">
            <a:extLst>
              <a:ext uri="{FF2B5EF4-FFF2-40B4-BE49-F238E27FC236}">
                <a16:creationId xmlns:a16="http://schemas.microsoft.com/office/drawing/2014/main" id="{FB356914-3CB9-483C-A8C8-9771820E5683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6D10B2-6B33-47CE-93F1-ABE7D980C0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8731258-39CA-4C45-9D91-F71495E7DC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51A41-C742-4723-92E8-FDB2F7761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472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51A41-C742-4723-92E8-FDB2F7761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7E254BB-92F7-41DF-B5FB-9E58D48C86D3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D4ADE087-A4A7-4848-9158-57FD4B0A198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Baselines / anchors">
              <a:extLst>
                <a:ext uri="{FF2B5EF4-FFF2-40B4-BE49-F238E27FC236}">
                  <a16:creationId xmlns:a16="http://schemas.microsoft.com/office/drawing/2014/main" id="{C2EB2C12-41F8-486A-8F96-FCD0494757B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1E6CA37E-2A52-4030-B04F-44204AC099B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A116F11-CAE6-471A-A3EF-0550E9C30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4C603C3-8C53-4977-A75C-D7AB4B77460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7E333CE-6512-4D52-AF0C-A7A1643CBE6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D22CBB63-6985-482D-A95F-D484A52B13E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39391D6-F480-436B-BD88-6D7079D0322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DB1B084B-01C6-445E-81A2-5B612AC2D25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FC42410-102D-4EC9-B8D7-F317F91C32C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5AC53EB-C18D-44B0-A014-7721F95E3E6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4256923-9742-4FFF-931A-F65AD6C8A5B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8562D6E-F494-4F5F-BAF5-197F273210E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822045-4E4C-4A79-9985-43F67A2F3B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179353-3B4C-4FFC-ABA0-7D9D5D261C7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2ECE32D-D4C8-4C08-BA90-07992539343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859C8BD-0DFC-4E22-B561-91A557C93D0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69ED6B1-6A4C-4268-976A-C58FE3E49AD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FE5DF1C-2C4D-49E8-BC87-41B656ACABE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DF680822-0B08-41CB-BA5B-D76F141F38F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CFA17E9E-A758-468D-990B-D9D6CE6AEC8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51FE3C8-3F51-4F86-84FE-E131C803B86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utter space">
              <a:extLst>
                <a:ext uri="{FF2B5EF4-FFF2-40B4-BE49-F238E27FC236}">
                  <a16:creationId xmlns:a16="http://schemas.microsoft.com/office/drawing/2014/main" id="{B2A4AF33-AA82-427F-B674-88774DF745D2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D58F2A4A-D9C8-471C-87FD-278637635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ECA2EB20-532D-4E12-8316-39A1F3302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6AA46D17-067D-4984-BA98-3FA5D0B8D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51F8BE30-3EDA-4353-B9AF-C442387CB4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0AA0F31-276E-474F-81A4-BBE4A9A0F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66CDFE6-3F93-4E7C-9C89-686C63027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73F79B1B-6260-41DB-AC24-C8C959C7B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5AED508B-85F1-4F4B-B082-323A13329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EA4D8D9C-F22F-4C4A-BCC8-16C51B065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0253A87B-12C7-4382-8799-54DC1137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ADC2BACD-9273-46CF-80F9-E64070409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4" name="Slide edges">
              <a:extLst>
                <a:ext uri="{FF2B5EF4-FFF2-40B4-BE49-F238E27FC236}">
                  <a16:creationId xmlns:a16="http://schemas.microsoft.com/office/drawing/2014/main" id="{01278601-2189-4626-8AB0-E0C2B36F0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Footnote measure">
              <a:extLst>
                <a:ext uri="{FF2B5EF4-FFF2-40B4-BE49-F238E27FC236}">
                  <a16:creationId xmlns:a16="http://schemas.microsoft.com/office/drawing/2014/main" id="{A4C9CB1B-E8B3-4648-938B-BB8E3063F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84FDD29F-211E-4E8F-A8A8-96F68F522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AFBC3433-903F-458F-AD40-B2C28B19D134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9C652544-DDFB-46CA-9035-AE0805330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321551DA-A27B-4695-B6DB-ADA7126AA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83FDC664-BEC6-471E-910A-3E56FCD6E3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573BD9D1-2408-4C8C-9DC7-C012BE0CA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32332941-464B-49EB-94D3-B19535DD5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B90CF630-23F3-4C70-8206-019674B66A6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8FBA1F22-6D74-45D3-B5EA-E63FDCDD1A91}"/>
                </a:ext>
              </a:extLst>
            </p:cNvPr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875998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99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902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3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68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651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83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F26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F26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43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59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940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753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46471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E306549-9C94-461E-902F-71B43033C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814286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6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65605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3CC80A7-73C5-4158-8C8E-84AA2F766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7161491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4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717B77E-3801-4E1E-91E8-532F43960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71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84D0E-B7AD-4AC2-A41F-FCC129D41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1" cy="6858000"/>
          </a:xfrm>
          <a:prstGeom prst="rect">
            <a:avLst/>
          </a:prstGeom>
          <a:ln>
            <a:noFill/>
          </a:ln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676AD3D-7BCF-4459-A752-DDDED00276C3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3E9982-9481-40E7-93A1-18498164AF58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5B1CB9D-E75A-43EF-A418-21FC20F3BE0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DDC4B24-FF8D-421C-B52D-14880FD814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134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C0EC533-4779-4DA9-8C0B-FDF362DC83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60242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966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CF82D0-C130-4708-B6C3-B3E337675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6691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408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B8C1ED-FE5F-409C-AB80-637298080D5A}"/>
              </a:ext>
            </a:extLst>
          </p:cNvPr>
          <p:cNvSpPr/>
          <p:nvPr userDrawn="1"/>
        </p:nvSpPr>
        <p:spPr>
          <a:xfrm>
            <a:off x="0" y="0"/>
            <a:ext cx="6683124" cy="685800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8BF0FB-B524-4BA8-802D-0B7428486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7302" y="0"/>
            <a:ext cx="6724698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F2F1ED-9CE1-4372-8C83-52D806656357}"/>
              </a:ext>
            </a:extLst>
          </p:cNvPr>
          <p:cNvSpPr/>
          <p:nvPr userDrawn="1"/>
        </p:nvSpPr>
        <p:spPr>
          <a:xfrm rot="10800000">
            <a:off x="5467301" y="0"/>
            <a:ext cx="6654084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69000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CD0F0F7-0E97-448F-ADD0-487A9644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015" y="2283945"/>
            <a:ext cx="4057406" cy="167899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endParaRPr lang="en-US">
              <a:solidFill>
                <a:srgbClr val="21BF61"/>
              </a:solidFill>
              <a:latin typeface="Henderson BCG Sans Light" panose="020B0302030402020204" pitchFamily="34" charset="77"/>
              <a:cs typeface="Henderson BCG Sans Light" panose="020B03020304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BF08B2-CBBB-437B-ABDE-B53DB23FF6AB}"/>
              </a:ext>
            </a:extLst>
          </p:cNvPr>
          <p:cNvCxnSpPr>
            <a:cxnSpLocks/>
          </p:cNvCxnSpPr>
          <p:nvPr userDrawn="1"/>
        </p:nvCxnSpPr>
        <p:spPr>
          <a:xfrm>
            <a:off x="597013" y="5226508"/>
            <a:ext cx="4057407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F8BF45E-E988-46F9-9E6D-663F7DB12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093738" y="0"/>
            <a:ext cx="416951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6EB87-1C17-443B-9195-E2CD3A87152D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5C93163-871D-47C5-8BBD-E6E233D88D1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C2C0ED-DA40-447B-BF33-89BE72DD684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2382A50-A169-4093-97E3-02DC628C70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347498-211D-4B7B-B7DA-3ECF06172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305778" y="1794277"/>
            <a:ext cx="3047747" cy="31002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D9FAC92-F184-4F84-ABAE-F7536DB7FDF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92215" y="1458410"/>
            <a:ext cx="5310059" cy="5391176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536B11D-5B13-40DC-9326-7CD868E5FB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13" y="4124977"/>
            <a:ext cx="4057407" cy="436195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7801D68-BBC8-4F64-9AEB-3B5A6730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015" y="5715105"/>
            <a:ext cx="4057406" cy="327149"/>
          </a:xfrm>
          <a:prstGeom prst="rect">
            <a:avLst/>
          </a:prstGeom>
        </p:spPr>
        <p:txBody>
          <a:bodyPr anchor="ctr"/>
          <a:lstStyle>
            <a:lvl1pPr>
              <a:defRPr sz="1200" cap="all" baseline="0"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196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6D571D7-46B0-4EAF-846D-F2A90EA35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053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A564389-2645-4926-A9C9-5BC715634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04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78E2AE5-4179-40D3-AE0B-99D9B38B5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21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C973002-0545-4EF5-A248-216BCE0A6A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22" y="1"/>
            <a:ext cx="9139846" cy="6858000"/>
          </a:xfrm>
          <a:prstGeom prst="rect">
            <a:avLst/>
          </a:prstGeom>
          <a:ln>
            <a:noFill/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151420" y="0"/>
            <a:ext cx="604058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460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A6EB48-7E7D-4407-9FA8-D88D6E5F1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CB1401-28A1-486B-8B97-B1B87E60B9A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88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B49AA0A-A12C-4157-8177-407F8EB92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6AD727-E5B1-40A5-A2F6-1396485A527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140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B904E42-88B4-43A5-9EC5-2132C5C2D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035375" y="0"/>
            <a:ext cx="6156625" cy="686691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9981D8-8FAD-4AB9-B5A9-2F3DB34FF432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67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AF64C3-2BDC-4296-A10D-B42B6D5B17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76620" cy="685799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D1463E-BAFF-4AA6-9D15-6ED41659F27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262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CEF1F45-70F8-4157-84E3-5C54D1532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6D6F94E-19B6-4A4A-8C03-7AEC0CD4C1D8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567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5C3B251-0FAE-4DD2-8997-42C9AF89E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0EC7E-355B-4058-8CF9-23E8DA41B3F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839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546618" y="622800"/>
            <a:ext cx="7123797" cy="44319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4CED11-9A23-4067-9703-9E7D4C5746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590"/>
            <a:ext cx="4083485" cy="68755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F4039CB-CA91-4FFF-AC3A-B9C953880AEB}"/>
              </a:ext>
            </a:extLst>
          </p:cNvPr>
          <p:cNvSpPr/>
          <p:nvPr userDrawn="1"/>
        </p:nvSpPr>
        <p:spPr>
          <a:xfrm rot="10800000">
            <a:off x="0" y="-17590"/>
            <a:ext cx="4083484" cy="687559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17000">
                <a:schemeClr val="accent1">
                  <a:alpha val="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3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5275AA-DD17-4F1D-A209-C9F5E2079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E9EB2B-40C1-4E73-9F71-ED72519D7BAA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852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0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583D8AA-E10E-4608-AF60-4646BBFBF7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05586" y="-5305587"/>
            <a:ext cx="1580827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6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laser, blur&#10;&#10;Description automatically generated">
            <a:extLst>
              <a:ext uri="{FF2B5EF4-FFF2-40B4-BE49-F238E27FC236}">
                <a16:creationId xmlns:a16="http://schemas.microsoft.com/office/drawing/2014/main" id="{CBD4795D-AE6E-4043-8849-95AE1A793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4240213-46F0-4EF4-8D8B-6182201FC778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567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2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ree&#10;&#10;Description automatically generated">
            <a:extLst>
              <a:ext uri="{FF2B5EF4-FFF2-40B4-BE49-F238E27FC236}">
                <a16:creationId xmlns:a16="http://schemas.microsoft.com/office/drawing/2014/main" id="{3DB2878C-1EC4-4E4D-940B-95FB823F9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626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3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ature&#10;&#10;Description automatically generated">
            <a:extLst>
              <a:ext uri="{FF2B5EF4-FFF2-40B4-BE49-F238E27FC236}">
                <a16:creationId xmlns:a16="http://schemas.microsoft.com/office/drawing/2014/main" id="{71CB30F8-D32A-49A2-A8EA-06870D466F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20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4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grass, plant, leaf, green&#10;&#10;Description automatically generated">
            <a:extLst>
              <a:ext uri="{FF2B5EF4-FFF2-40B4-BE49-F238E27FC236}">
                <a16:creationId xmlns:a16="http://schemas.microsoft.com/office/drawing/2014/main" id="{D8AFDF4E-BBD2-4828-A2BF-3B512294C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2810A4-B7BC-4295-A527-36E813A97300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4765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5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lose-up of a pile of wires&#10;&#10;Description automatically generated with low confidence">
            <a:extLst>
              <a:ext uri="{FF2B5EF4-FFF2-40B4-BE49-F238E27FC236}">
                <a16:creationId xmlns:a16="http://schemas.microsoft.com/office/drawing/2014/main" id="{780ABA0F-AB3B-4F25-AD5D-CF22A4CB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42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6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0C994B96-7AB0-433A-A2E8-87C035FC7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EC4DB-D4DC-48EE-B297-7C07CE31C01B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60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7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7C810475-85AE-4CEC-8830-24FEF1DF7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579384-AD7D-42D0-82EA-0AE0D21A7663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24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8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3B83742-1109-4BD5-8F33-BFE5019F4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B54B3B-28AB-4D4C-A258-468BAF2D8997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966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7123797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7701B6-ED7F-4ED1-8A32-83A5F8CB3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748" y="0"/>
            <a:ext cx="4083486" cy="6857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673707-19ED-4AE1-971D-F49CB3A08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7753797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7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9">
    <p:bg bwMode="grayWhite"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14840E4-D7DD-4A96-8F0A-5CD28F4CEE7B}"/>
              </a:ext>
            </a:extLst>
          </p:cNvPr>
          <p:cNvSpPr/>
          <p:nvPr userDrawn="1"/>
        </p:nvSpPr>
        <p:spPr>
          <a:xfrm>
            <a:off x="0" y="-236920"/>
            <a:ext cx="12192000" cy="1543373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36920"/>
            <a:ext cx="12192000" cy="154337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41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D0933-3B27-4A72-828F-33ACDFCB9939}"/>
              </a:ext>
            </a:extLst>
          </p:cNvPr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>
                <a:solidFill>
                  <a:prstClr val="white"/>
                </a:solidFill>
                <a:sym typeface="+mn-lt"/>
              </a:rPr>
              <a:t>CC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1896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BAA4C8-10B9-4E3E-B65A-28D8693172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671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E4D49C-1513-4582-A2C4-2EDC959145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207F5C61-1F94-4D71-BF4F-ABB4FE6F98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3313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C9D2649-8A6E-4661-BEA6-1D0ADC9B1A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0A3623B9-3A4C-427C-B25C-5C6A10D28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419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E37C26-3942-4F4C-B2EA-4BF543390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395"/>
          <a:stretch/>
        </p:blipFill>
        <p:spPr>
          <a:xfrm>
            <a:off x="1" y="-1"/>
            <a:ext cx="8365992" cy="685483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2D0A38D-0C83-4499-AFB4-7F6948FB499C}"/>
              </a:ext>
            </a:extLst>
          </p:cNvPr>
          <p:cNvSpPr/>
          <p:nvPr userDrawn="1"/>
        </p:nvSpPr>
        <p:spPr>
          <a:xfrm rot="5400000" flipH="1">
            <a:off x="4732598" y="1092945"/>
            <a:ext cx="6870121" cy="4659987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2124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128FA57E-DE77-4114-BB2E-CCBE540802DF}"/>
              </a:ext>
            </a:extLst>
          </p:cNvPr>
          <p:cNvSpPr/>
          <p:nvPr userDrawn="1"/>
        </p:nvSpPr>
        <p:spPr>
          <a:xfrm>
            <a:off x="3225219" y="-12119"/>
            <a:ext cx="8939222" cy="6866953"/>
          </a:xfrm>
          <a:custGeom>
            <a:avLst/>
            <a:gdLst>
              <a:gd name="connsiteX0" fmla="*/ 0 w 8939222"/>
              <a:gd name="connsiteY0" fmla="*/ 12964 h 6858000"/>
              <a:gd name="connsiteX1" fmla="*/ 13062 w 8939222"/>
              <a:gd name="connsiteY1" fmla="*/ 66235 h 6858000"/>
              <a:gd name="connsiteX2" fmla="*/ 13062 w 8939222"/>
              <a:gd name="connsiteY2" fmla="*/ 155570 h 6858000"/>
              <a:gd name="connsiteX3" fmla="*/ 13062 w 8939222"/>
              <a:gd name="connsiteY3" fmla="*/ 0 h 6858000"/>
              <a:gd name="connsiteX4" fmla="*/ 5434022 w 8939222"/>
              <a:gd name="connsiteY4" fmla="*/ 0 h 6858000"/>
              <a:gd name="connsiteX5" fmla="*/ 6662057 w 8939222"/>
              <a:gd name="connsiteY5" fmla="*/ 0 h 6858000"/>
              <a:gd name="connsiteX6" fmla="*/ 6805748 w 8939222"/>
              <a:gd name="connsiteY6" fmla="*/ 0 h 6858000"/>
              <a:gd name="connsiteX7" fmla="*/ 8939222 w 8939222"/>
              <a:gd name="connsiteY7" fmla="*/ 0 h 6858000"/>
              <a:gd name="connsiteX8" fmla="*/ 8939222 w 8939222"/>
              <a:gd name="connsiteY8" fmla="*/ 6858000 h 6858000"/>
              <a:gd name="connsiteX9" fmla="*/ 6662057 w 8939222"/>
              <a:gd name="connsiteY9" fmla="*/ 6858000 h 6858000"/>
              <a:gd name="connsiteX10" fmla="*/ 5434022 w 8939222"/>
              <a:gd name="connsiteY10" fmla="*/ 6858000 h 6858000"/>
              <a:gd name="connsiteX11" fmla="*/ 0 w 8939222"/>
              <a:gd name="connsiteY11" fmla="*/ 6858000 h 6858000"/>
              <a:gd name="connsiteX12" fmla="*/ 836022 w 8939222"/>
              <a:gd name="connsiteY12" fmla="*/ 3422519 h 6858000"/>
              <a:gd name="connsiteX13" fmla="*/ 13062 w 8939222"/>
              <a:gd name="connsiteY13" fmla="*/ 662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39222" h="6858000">
                <a:moveTo>
                  <a:pt x="0" y="12964"/>
                </a:moveTo>
                <a:lnTo>
                  <a:pt x="13062" y="66235"/>
                </a:lnTo>
                <a:lnTo>
                  <a:pt x="13062" y="155570"/>
                </a:lnTo>
                <a:close/>
                <a:moveTo>
                  <a:pt x="13062" y="0"/>
                </a:moveTo>
                <a:lnTo>
                  <a:pt x="5434022" y="0"/>
                </a:lnTo>
                <a:lnTo>
                  <a:pt x="6662057" y="0"/>
                </a:lnTo>
                <a:lnTo>
                  <a:pt x="6805748" y="0"/>
                </a:lnTo>
                <a:lnTo>
                  <a:pt x="8939222" y="0"/>
                </a:lnTo>
                <a:lnTo>
                  <a:pt x="8939222" y="6858000"/>
                </a:lnTo>
                <a:lnTo>
                  <a:pt x="6662057" y="6858000"/>
                </a:lnTo>
                <a:lnTo>
                  <a:pt x="5434022" y="6858000"/>
                </a:lnTo>
                <a:lnTo>
                  <a:pt x="0" y="6858000"/>
                </a:lnTo>
                <a:lnTo>
                  <a:pt x="836022" y="3422519"/>
                </a:lnTo>
                <a:lnTo>
                  <a:pt x="13062" y="66235"/>
                </a:lnTo>
                <a:close/>
              </a:path>
            </a:pathLst>
          </a:cu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A39903-E8EB-4538-AB8B-5A7DC481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265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70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D8F748-169D-40DF-9A2C-954DD3D699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17" y="0"/>
            <a:ext cx="10287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AE37BF0-65EC-4E95-99A3-B41CA3B5E7FC}"/>
              </a:ext>
            </a:extLst>
          </p:cNvPr>
          <p:cNvSpPr/>
          <p:nvPr userDrawn="1"/>
        </p:nvSpPr>
        <p:spPr>
          <a:xfrm flipH="1">
            <a:off x="0" y="1"/>
            <a:ext cx="6688183" cy="684904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113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718ACD9-2BC9-44A7-BE24-B31C500E21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63389" y="0"/>
            <a:ext cx="10428611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1EE9B9F-6920-4094-92AF-342B18AC90EB}"/>
              </a:ext>
            </a:extLst>
          </p:cNvPr>
          <p:cNvSpPr/>
          <p:nvPr userDrawn="1"/>
        </p:nvSpPr>
        <p:spPr>
          <a:xfrm>
            <a:off x="5107577" y="0"/>
            <a:ext cx="7084423" cy="6857998"/>
          </a:xfrm>
          <a:prstGeom prst="rect">
            <a:avLst/>
          </a:prstGeom>
          <a:gradFill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entagon 8">
            <a:extLst>
              <a:ext uri="{FF2B5EF4-FFF2-40B4-BE49-F238E27FC236}">
                <a16:creationId xmlns:a16="http://schemas.microsoft.com/office/drawing/2014/main" id="{6E3099D0-E521-4531-88A7-523686DB7AD7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4406783-5B82-4C2D-9A20-6F0AFBCA36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006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1EAC800-599F-40E5-98A3-BE0A585856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03" y="1"/>
            <a:ext cx="12192000" cy="685799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2C3D1891-B7B7-4790-855A-4CCCD892E313}"/>
              </a:ext>
            </a:extLst>
          </p:cNvPr>
          <p:cNvSpPr/>
          <p:nvPr userDrawn="1"/>
        </p:nvSpPr>
        <p:spPr>
          <a:xfrm>
            <a:off x="5212080" y="-8951"/>
            <a:ext cx="7084423" cy="6857998"/>
          </a:xfrm>
          <a:prstGeom prst="rect">
            <a:avLst/>
          </a:prstGeom>
          <a:gradFill>
            <a:gsLst>
              <a:gs pos="100000">
                <a:srgbClr val="222222">
                  <a:alpha val="83685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74DC30A5-4A10-47DD-A5A1-77E037C0DD18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079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  <a:sym typeface="+mn-lt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4035084-2E19-4F46-9356-1F63801E29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918" y="358908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2F851A1-8148-4675-92CE-D8CB3239603B}"/>
              </a:ext>
            </a:extLst>
          </p:cNvPr>
          <p:cNvGrpSpPr/>
          <p:nvPr userDrawn="1"/>
        </p:nvGrpSpPr>
        <p:grpSpPr>
          <a:xfrm>
            <a:off x="5619936" y="1032080"/>
            <a:ext cx="4712589" cy="4793839"/>
            <a:chOff x="1803027" y="0"/>
            <a:chExt cx="4712589" cy="4793839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52C85E8-D8BC-4ED4-828E-BE4271B62B8F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456A7C-827C-46C6-8834-486E86FD1F23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29F477AE-6F46-4A74-AA0A-310252883C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9" name="Picture Placeholder 18">
            <a:extLst>
              <a:ext uri="{FF2B5EF4-FFF2-40B4-BE49-F238E27FC236}">
                <a16:creationId xmlns:a16="http://schemas.microsoft.com/office/drawing/2014/main" id="{CE513D31-1C27-4851-84FA-FD836B8981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48348" y="1458930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FED85A-6F14-406E-B65A-2E037DC744E9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655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8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E8EDC5-A15E-42DF-B0D0-9DF2C2AF70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966245-1B24-4993-88C3-6AA9E2AF32AE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5975C2-D77A-4747-8677-2E58529BF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FAF98-D6CB-4B5F-B25A-C747C2E6B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16200000" flipH="1">
            <a:off x="8458181" y="2437627"/>
            <a:ext cx="416951" cy="6858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E7A86E-D9CE-424C-83A7-5E9FAB386A6C}"/>
              </a:ext>
            </a:extLst>
          </p:cNvPr>
          <p:cNvSpPr txBox="1"/>
          <p:nvPr userDrawn="1"/>
        </p:nvSpPr>
        <p:spPr>
          <a:xfrm>
            <a:off x="11320272" y="65574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18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2F609A-52C4-427F-A9CE-A8E08B31B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2"/>
            <a:ext cx="5051594" cy="6859061"/>
          </a:xfrm>
          <a:prstGeom prst="rect">
            <a:avLst/>
          </a:prstGeom>
          <a:effectLst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110962B-EBC8-4546-BB11-930B8377E5D9}"/>
              </a:ext>
            </a:extLst>
          </p:cNvPr>
          <p:cNvSpPr/>
          <p:nvPr userDrawn="1"/>
        </p:nvSpPr>
        <p:spPr>
          <a:xfrm>
            <a:off x="0" y="-1"/>
            <a:ext cx="5051594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0000"/>
                </a:schemeClr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81ED4-02E4-4578-98E2-5C83C6642D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406C1F-998F-403D-9D61-1C2D0AAA2C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5159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9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FA6508C-E05B-4C89-AFE1-AE8F5F75E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1A22C54-5ED0-4187-82AC-28DF782ECF44}"/>
              </a:ext>
            </a:extLst>
          </p:cNvPr>
          <p:cNvSpPr/>
          <p:nvPr userDrawn="1"/>
        </p:nvSpPr>
        <p:spPr>
          <a:xfrm>
            <a:off x="145141" y="1"/>
            <a:ext cx="12192001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5511AD-57E7-4389-8A76-05210884B7C3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90DABC-1532-43E6-98BA-96A1550DDB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97C1E2-96F9-4E99-AFDD-0FFD0D8A905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0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628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578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2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52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15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56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107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34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660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8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kern="0" baseline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4797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3C5FAC-27F4-48D4-9FDD-D8F23CB0F9AD}"/>
              </a:ext>
            </a:extLst>
          </p:cNvPr>
          <p:cNvSpPr/>
          <p:nvPr userDrawn="1"/>
        </p:nvSpPr>
        <p:spPr>
          <a:xfrm>
            <a:off x="0" y="-2"/>
            <a:ext cx="5026393" cy="557408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E5072D8-2CCB-4C76-990F-E76675980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700399" cy="5203067"/>
          </a:xfrm>
          <a:prstGeom prst="rect">
            <a:avLst/>
          </a:prstGeom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D0D6572-FB60-4E68-853E-F294E1451A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3557" y="2532702"/>
            <a:ext cx="4269268" cy="433958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92CCDC0-B56B-4D85-AD90-5FEFDE5BC091}"/>
              </a:ext>
            </a:extLst>
          </p:cNvPr>
          <p:cNvSpPr/>
          <p:nvPr userDrawn="1"/>
        </p:nvSpPr>
        <p:spPr>
          <a:xfrm>
            <a:off x="0" y="0"/>
            <a:ext cx="4697627" cy="5203065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34546E-67F5-4FFF-BC47-7A602546AC23}"/>
              </a:ext>
            </a:extLst>
          </p:cNvPr>
          <p:cNvSpPr txBox="1"/>
          <p:nvPr userDrawn="1"/>
        </p:nvSpPr>
        <p:spPr>
          <a:xfrm>
            <a:off x="6386945" y="-429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71747C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31AFA2-F84B-4C73-B796-C99F5C9BB2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39792" y="0"/>
            <a:ext cx="416951" cy="6858000"/>
          </a:xfrm>
          <a:prstGeom prst="rect">
            <a:avLst/>
          </a:prstGeom>
        </p:spPr>
      </p:pic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326761C-6DFD-489E-89D3-A9FC05E48BF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10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847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0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4958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135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2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209C2727-C167-433F-870D-AFDC0437E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166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2377B12C-2B7B-4918-8C02-69E8853ED3F3}"/>
              </a:ext>
            </a:extLst>
          </p:cNvPr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72F611-68D0-45A9-8A04-FF75B4EF6C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6E6B8E7-E6C0-494F-A91D-1626C8FD2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349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4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358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2274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6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246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>
              <a:solidFill>
                <a:srgbClr val="FFFFFF"/>
              </a:solidFill>
              <a:latin typeface="Henderson BCG Sans Light" panose="020B0302030402020204" pitchFamily="34" charset="0"/>
              <a:ea typeface="+mj-ea"/>
              <a:cs typeface="+mj-cs"/>
              <a:sym typeface="Henderson BCG Sans Light" panose="020B03020304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50400" y="14063136"/>
            <a:ext cx="1482051" cy="153888"/>
          </a:xfrm>
        </p:spPr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41023" y="2081213"/>
            <a:ext cx="3230890" cy="4473688"/>
          </a:xfrm>
        </p:spPr>
        <p:txBody>
          <a:bodyPr>
            <a:noAutofit/>
          </a:bodyPr>
          <a:lstStyle>
            <a:lvl1pPr>
              <a:defRPr sz="3400" b="0" kern="0">
                <a:latin typeface="+mn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41023" y="593890"/>
            <a:ext cx="631595" cy="1117229"/>
          </a:xfrm>
        </p:spPr>
        <p:txBody>
          <a:bodyPr wrap="none">
            <a:noAutofit/>
          </a:bodyPr>
          <a:lstStyle>
            <a:lvl1pPr marL="0" algn="ctr" defTabSz="914400" rtl="0" eaLnBrk="1" latinLnBrk="0" hangingPunct="1">
              <a:defRPr lang="en-US" sz="6600" b="1" kern="0" dirty="0">
                <a:solidFill>
                  <a:srgbClr val="21BF61"/>
                </a:solidFill>
                <a:latin typeface="Henderson BCG Sans" panose="020B0502030402020204" pitchFamily="34" charset="0"/>
                <a:ea typeface="+mn-ea"/>
                <a:cs typeface="Henderson BCG Sans" panose="020B0502030402020204" pitchFamily="34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5490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8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FC09CF-31C8-4069-8493-ED2171DB50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31ACB0-9313-46D8-B361-9953098C64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90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873714-4639-4B26-AF5F-B1595DC93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606" y="0"/>
            <a:ext cx="5051594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E1916E-4666-4129-AF95-22BE027A14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5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9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C8D3259-1C1D-48DF-A258-96D3AC56A6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935992-B642-4274-B080-B27A4438FE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2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0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00E9D0-FE37-4AEF-B7C3-A89D73D44D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E680129-ED69-410F-8FEE-83AB982A3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9EAD5-336D-41A4-8F31-97C75BE99E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53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234B2D-663F-433A-A9DB-F5A2FE259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51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234B2D-663F-433A-A9DB-F5A2FE259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B4902E-83AE-DFAE-FB2D-C5AAC10A8193}"/>
              </a:ext>
            </a:extLst>
          </p:cNvPr>
          <p:cNvSpPr/>
          <p:nvPr userDrawn="1"/>
        </p:nvSpPr>
        <p:spPr>
          <a:xfrm>
            <a:off x="0" y="0"/>
            <a:ext cx="5177018" cy="6858000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06793A-5DA2-7975-320A-50E0A0A7E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888" y="2562592"/>
            <a:ext cx="1992087" cy="915892"/>
          </a:xfrm>
        </p:spPr>
        <p:txBody>
          <a:bodyPr vert="horz" wrap="square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059FBA2-F353-84F6-E090-FF1952420E92}"/>
              </a:ext>
            </a:extLst>
          </p:cNvPr>
          <p:cNvSpPr txBox="1">
            <a:spLocks/>
          </p:cNvSpPr>
          <p:nvPr userDrawn="1"/>
        </p:nvSpPr>
        <p:spPr>
          <a:xfrm>
            <a:off x="2838849" y="3467468"/>
            <a:ext cx="1992087" cy="2862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buClrTx/>
              <a:buFontTx/>
            </a:pPr>
            <a:r>
              <a:rPr lang="en-US" sz="2000">
                <a:solidFill>
                  <a:srgbClr val="00A888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Templ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4EC2E1-6018-1F28-C71A-1CE5666C3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3508"/>
          <a:stretch/>
        </p:blipFill>
        <p:spPr>
          <a:xfrm>
            <a:off x="0" y="685398"/>
            <a:ext cx="3552533" cy="457070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E9D49A-9C1D-ADFD-E0F1-55D1319A4BA0}"/>
              </a:ext>
            </a:extLst>
          </p:cNvPr>
          <p:cNvSpPr/>
          <p:nvPr userDrawn="1"/>
        </p:nvSpPr>
        <p:spPr>
          <a:xfrm>
            <a:off x="5177018" y="0"/>
            <a:ext cx="7014982" cy="6858000"/>
          </a:xfrm>
          <a:prstGeom prst="rect">
            <a:avLst/>
          </a:prstGeom>
          <a:solidFill>
            <a:srgbClr val="E4E4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80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8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9D905A-2472-4769-A48D-A1E421010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06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9D905A-2472-4769-A48D-A1E421010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21BF6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02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B119FE-0804-41D6-8FAD-1A565AB4B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82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B119FE-0804-41D6-8FAD-1A565AB4B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5E4DFB-A52E-4ACD-81F6-F0948EBC9B4B}"/>
              </a:ext>
            </a:extLst>
          </p:cNvPr>
          <p:cNvSpPr/>
          <p:nvPr userDrawn="1"/>
        </p:nvSpPr>
        <p:spPr>
          <a:xfrm>
            <a:off x="7165606" y="0"/>
            <a:ext cx="5026394" cy="566522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421CCA-0496-436D-9D63-FE21EAD2C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72364" y="3254339"/>
            <a:ext cx="5428872" cy="36036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62493A-9602-4961-854B-F3AC559B0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D077922-DD50-4091-9FB9-6A9034454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1600" y="1"/>
            <a:ext cx="4700400" cy="534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3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4483A4-B580-4AD4-A2E6-E2FBDB45B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2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4483A4-B580-4AD4-A2E6-E2FBDB45B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772EB6-8C2B-416C-B698-0E4759796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93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772EB6-8C2B-416C-B698-0E4759796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E74108-8BC7-4F50-A75D-10E25E3EF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847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E74108-8BC7-4F50-A75D-10E25E3EF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05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29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1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4B8A33-4EC4-4C1E-A687-1142DC6E5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21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4B8A33-4EC4-4C1E-A687-1142DC6E5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18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1EC37-5C52-4548-AE62-E8F8BAFEB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03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1EC37-5C52-4548-AE62-E8F8BAFEB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98426-7553-4BC6-B68B-8D83D6BBF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40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98426-7553-4BC6-B68B-8D83D6BBF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8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697F3D-14C2-4710-93EA-8EDEA9EFA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81342" y="381342"/>
            <a:ext cx="6858001" cy="60953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15AA57-619A-42C3-B2E1-CFB77BFE9DFF}"/>
              </a:ext>
            </a:extLst>
          </p:cNvPr>
          <p:cNvSpPr/>
          <p:nvPr userDrawn="1"/>
        </p:nvSpPr>
        <p:spPr>
          <a:xfrm>
            <a:off x="-2" y="-1"/>
            <a:ext cx="6095321" cy="685799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824637-9BFD-4EE2-A8F6-E53E5EC8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095323" y="0"/>
            <a:ext cx="416951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591774"/>
            <a:ext cx="3452400" cy="1495795"/>
          </a:xfrm>
          <a:prstGeom prst="rect">
            <a:avLst/>
          </a:prstGeo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6432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A95708-76A1-4ABF-80BD-33B85E386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36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A95708-76A1-4ABF-80BD-33B85E386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BBF838-DDC3-4C1D-93C0-AB21BC5A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10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BBF838-DDC3-4C1D-93C0-AB21BC5A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CED4D-6EF6-4977-A3D9-DE68040E2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0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CED4D-6EF6-4977-A3D9-DE68040E2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45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68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54C9A3-B1F6-46C8-88E1-95FF336BB2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25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54C9A3-B1F6-46C8-88E1-95FF336BB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224ABF-4748-4980-B7E2-0B087EE6F7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1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224ABF-4748-4980-B7E2-0B087EE6F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F9E230-8198-4882-B586-954A535DA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16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F9E230-8198-4882-B586-954A535DA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0A884-D1C9-4250-A7A1-B56BDEF292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82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81FABF6C-EC9B-432D-AC6E-66A1C30E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46A376F-BC85-419B-804F-7802813A83C3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B8612DD-A5F5-4A38-9DE0-3ADA9DEAD314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BD2B94F-94EA-4EAB-AE64-FBCA41886B9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F9D4F53-DC24-4C70-8ED2-485A0C8C833C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5" name="Title 2">
            <a:extLst>
              <a:ext uri="{FF2B5EF4-FFF2-40B4-BE49-F238E27FC236}">
                <a16:creationId xmlns:a16="http://schemas.microsoft.com/office/drawing/2014/main" id="{8CF63F5B-0B8E-40A5-83E6-B5BF43694349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8431688-E44F-4CDA-93BE-307709938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447A2DB-9E7C-4343-83D3-9A410DB534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44EBF1-ABC8-4960-9D21-6F36E99A8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286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44EBF1-ABC8-4960-9D21-6F36E99A8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0"/>
            </p:custDataLst>
            <p:extLst>
              <p:ext uri="{D42A27DB-BD31-4B8C-83A1-F6EECF244321}">
                <p14:modId xmlns:p14="http://schemas.microsoft.com/office/powerpoint/2010/main" val="208037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270" imgH="270" progId="TCLayout.ActiveDocument.1">
                  <p:embed/>
                </p:oleObj>
              </mc:Choice>
              <mc:Fallback>
                <p:oleObj name="think-cell Slide" r:id="rId1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2110878"/>
            <a:ext cx="10933350" cy="4075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1000" kern="0">
                <a:solidFill>
                  <a:prstClr val="white">
                    <a:lumMod val="50000"/>
                  </a:prstClr>
                </a:solidFill>
                <a:latin typeface="Henderson BCG Sans Light"/>
              </a:defRPr>
            </a:lvl1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187" r:id="rId4"/>
    <p:sldLayoutId id="2147485188" r:id="rId5"/>
    <p:sldLayoutId id="2147485189" r:id="rId6"/>
    <p:sldLayoutId id="2147485190" r:id="rId7"/>
    <p:sldLayoutId id="2147485191" r:id="rId8"/>
    <p:sldLayoutId id="2147485192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47" r:id="rId32"/>
    <p:sldLayoutId id="2147485248" r:id="rId33"/>
    <p:sldLayoutId id="2147485249" r:id="rId34"/>
    <p:sldLayoutId id="2147485250" r:id="rId35"/>
    <p:sldLayoutId id="2147485251" r:id="rId36"/>
    <p:sldLayoutId id="2147485252" r:id="rId37"/>
    <p:sldLayoutId id="2147485253" r:id="rId38"/>
    <p:sldLayoutId id="2147485254" r:id="rId39"/>
    <p:sldLayoutId id="2147485215" r:id="rId40"/>
    <p:sldLayoutId id="2147485216" r:id="rId41"/>
    <p:sldLayoutId id="2147485217" r:id="rId42"/>
    <p:sldLayoutId id="2147485218" r:id="rId43"/>
    <p:sldLayoutId id="2147485219" r:id="rId44"/>
    <p:sldLayoutId id="2147485220" r:id="rId45"/>
    <p:sldLayoutId id="2147485221" r:id="rId46"/>
    <p:sldLayoutId id="2147485222" r:id="rId47"/>
    <p:sldLayoutId id="2147485223" r:id="rId48"/>
    <p:sldLayoutId id="2147485224" r:id="rId49"/>
    <p:sldLayoutId id="2147485225" r:id="rId50"/>
    <p:sldLayoutId id="2147485226" r:id="rId51"/>
    <p:sldLayoutId id="2147485227" r:id="rId52"/>
    <p:sldLayoutId id="2147485228" r:id="rId53"/>
    <p:sldLayoutId id="2147485229" r:id="rId54"/>
    <p:sldLayoutId id="2147485230" r:id="rId55"/>
    <p:sldLayoutId id="2147485231" r:id="rId56"/>
    <p:sldLayoutId id="2147485232" r:id="rId57"/>
    <p:sldLayoutId id="2147485233" r:id="rId58"/>
    <p:sldLayoutId id="2147485234" r:id="rId59"/>
    <p:sldLayoutId id="2147485235" r:id="rId60"/>
    <p:sldLayoutId id="2147485236" r:id="rId61"/>
    <p:sldLayoutId id="2147485237" r:id="rId62"/>
    <p:sldLayoutId id="2147485238" r:id="rId63"/>
    <p:sldLayoutId id="2147485239" r:id="rId64"/>
    <p:sldLayoutId id="2147485240" r:id="rId65"/>
    <p:sldLayoutId id="2147485241" r:id="rId66"/>
    <p:sldLayoutId id="2147485242" r:id="rId67"/>
    <p:sldLayoutId id="2147485243" r:id="rId68"/>
    <p:sldLayoutId id="2147485244" r:id="rId69"/>
    <p:sldLayoutId id="2147485245" r:id="rId70"/>
    <p:sldLayoutId id="2147485246" r:id="rId71"/>
    <p:sldLayoutId id="2147485086" r:id="rId72"/>
    <p:sldLayoutId id="2147485183" r:id="rId73"/>
    <p:sldLayoutId id="2147485255" r:id="rId74"/>
    <p:sldLayoutId id="2147485158" r:id="rId75"/>
    <p:sldLayoutId id="2147485113" r:id="rId76"/>
    <p:sldLayoutId id="2147485114" r:id="rId77"/>
    <p:sldLayoutId id="2147485154" r:id="rId78"/>
    <p:sldLayoutId id="2147485162" r:id="rId79"/>
    <p:sldLayoutId id="2147485149" r:id="rId80"/>
    <p:sldLayoutId id="2147485087" r:id="rId81"/>
    <p:sldLayoutId id="2147485112" r:id="rId82"/>
    <p:sldLayoutId id="2147485155" r:id="rId83"/>
    <p:sldLayoutId id="2147485164" r:id="rId84"/>
    <p:sldLayoutId id="2147485109" r:id="rId85"/>
    <p:sldLayoutId id="2147485165" r:id="rId86"/>
    <p:sldLayoutId id="2147485110" r:id="rId87"/>
    <p:sldLayoutId id="2147485166" r:id="rId88"/>
    <p:sldLayoutId id="2147485156" r:id="rId89"/>
    <p:sldLayoutId id="2147485167" r:id="rId90"/>
    <p:sldLayoutId id="2147485108" r:id="rId91"/>
    <p:sldLayoutId id="2147485107" r:id="rId92"/>
    <p:sldLayoutId id="2147485106" r:id="rId93"/>
    <p:sldLayoutId id="2147485090" r:id="rId94"/>
    <p:sldLayoutId id="2147485091" r:id="rId95"/>
    <p:sldLayoutId id="2147485092" r:id="rId96"/>
    <p:sldLayoutId id="2147485093" r:id="rId97"/>
    <p:sldLayoutId id="2147485116" r:id="rId98"/>
    <p:sldLayoutId id="2147485161" r:id="rId99"/>
    <p:sldLayoutId id="2147485159" r:id="rId100"/>
    <p:sldLayoutId id="2147485119" r:id="rId101"/>
    <p:sldLayoutId id="2147485184" r:id="rId102"/>
    <p:sldLayoutId id="2147485137" r:id="rId103"/>
    <p:sldLayoutId id="2147485120" r:id="rId104"/>
    <p:sldLayoutId id="2147485121" r:id="rId105"/>
    <p:sldLayoutId id="2147485141" r:id="rId106"/>
    <p:sldLayoutId id="2147485163" r:id="rId107"/>
    <p:sldLayoutId id="2147485139" r:id="rId108"/>
    <p:sldLayoutId id="2147485140" r:id="rId109"/>
    <p:sldLayoutId id="2147485122" r:id="rId110"/>
    <p:sldLayoutId id="2147485123" r:id="rId111"/>
    <p:sldLayoutId id="2147485151" r:id="rId112"/>
    <p:sldLayoutId id="2147485168" r:id="rId113"/>
    <p:sldLayoutId id="2147485127" r:id="rId114"/>
    <p:sldLayoutId id="2147485169" r:id="rId115"/>
    <p:sldLayoutId id="2147485126" r:id="rId116"/>
    <p:sldLayoutId id="2147485170" r:id="rId117"/>
    <p:sldLayoutId id="2147485153" r:id="rId118"/>
    <p:sldLayoutId id="2147485171" r:id="rId119"/>
    <p:sldLayoutId id="2147485128" r:id="rId120"/>
    <p:sldLayoutId id="2147485129" r:id="rId121"/>
    <p:sldLayoutId id="2147485130" r:id="rId122"/>
    <p:sldLayoutId id="2147485131" r:id="rId123"/>
    <p:sldLayoutId id="2147485145" r:id="rId124"/>
    <p:sldLayoutId id="2147485133" r:id="rId125"/>
    <p:sldLayoutId id="2147485144" r:id="rId126"/>
    <p:sldLayoutId id="2147485134" r:id="rId127"/>
    <p:sldLayoutId id="2147485146" r:id="rId128"/>
    <p:sldLayoutId id="2147485160" r:id="rId129"/>
    <p:sldLayoutId id="2147485172" r:id="rId130"/>
    <p:sldLayoutId id="2147485173" r:id="rId131"/>
    <p:sldLayoutId id="2147485174" r:id="rId132"/>
    <p:sldLayoutId id="2147485175" r:id="rId133"/>
    <p:sldLayoutId id="2147485176" r:id="rId134"/>
    <p:sldLayoutId id="2147485177" r:id="rId135"/>
    <p:sldLayoutId id="2147485178" r:id="rId136"/>
    <p:sldLayoutId id="2147485179" r:id="rId137"/>
    <p:sldLayoutId id="2147485180" r:id="rId1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800" kern="0">
          <a:solidFill>
            <a:srgbClr val="21BF6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1BF61"/>
        </a:buClr>
        <a:buFont typeface="Arial" panose="020B0604020202020204" pitchFamily="34" charset="0"/>
        <a:buChar char="​"/>
        <a:defRPr lang="en-US" sz="5400" b="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5687A-FF04-72FB-5A15-19913FAAD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E6C3E6D-C8FF-5833-8EC2-F4CD8FE76B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E6C3E6D-C8FF-5833-8EC2-F4CD8FE7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BD7C73-15F2-8A33-960F-52876D5F4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2801EB61-D361-7FA0-AFB3-B55910340F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0572" y="753493"/>
            <a:ext cx="5972537" cy="5355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xecutive Summary: Proactively identifying churn risk to protect revenu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ackgrou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owerCo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is facing a significant challenge with customer churn. The project objective is to develop a data-driven solution to proactively identify at-risk customers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Key Finding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 predictive model has been developed which can successfully identify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35% of all customers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who are likely to churn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he key drivers of churn have been identified as customer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enur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, 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ofitability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, and 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ice volatility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usiness Impac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he model enables the business to move from a reactive to a proactive retention strategy by launching targeted campaigns. This improves the efficiency of retention spending and has a positive impact on the bottom line. </a:t>
            </a:r>
          </a:p>
        </p:txBody>
      </p:sp>
    </p:spTree>
    <p:extLst>
      <p:ext uri="{BB962C8B-B14F-4D97-AF65-F5344CB8AC3E}">
        <p14:creationId xmlns:p14="http://schemas.microsoft.com/office/powerpoint/2010/main" val="291620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MASTERWIZARD_DRAFT" val="0"/>
  <p:tag name="EE4P_STYLE_NAME" val="BCG Beyond 16:9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seCx0bxHhj9DRrgwZ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ePzYIipNaPpHVWundk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_eRDV_hD7hLX8YNlR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hXuF4r.Mui3VuJ3T.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Zr0v0qP7F1ZPMNi2l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FVzBHausxJUMUBNpP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P9RR9pzWjlinOrV2lmg"/>
</p:tagLst>
</file>

<file path=ppt/theme/theme1.xml><?xml version="1.0" encoding="utf-8"?>
<a:theme xmlns:a="http://schemas.openxmlformats.org/drawingml/2006/main" name="BCG Beyond Grid 16:9 - 18608">
  <a:themeElements>
    <a:clrScheme name="cvp">
      <a:dk1>
        <a:srgbClr val="575757"/>
      </a:dk1>
      <a:lt1>
        <a:sysClr val="window" lastClr="FFFFFF"/>
      </a:lt1>
      <a:dk2>
        <a:srgbClr val="9A9CA2"/>
      </a:dk2>
      <a:lt2>
        <a:srgbClr val="EEEEEE"/>
      </a:lt2>
      <a:accent1>
        <a:srgbClr val="222222"/>
      </a:accent1>
      <a:accent2>
        <a:srgbClr val="424652"/>
      </a:accent2>
      <a:accent3>
        <a:srgbClr val="6A7084"/>
      </a:accent3>
      <a:accent4>
        <a:srgbClr val="9A9CA2"/>
      </a:accent4>
      <a:accent5>
        <a:srgbClr val="BFBFBF"/>
      </a:accent5>
      <a:accent6>
        <a:srgbClr val="DADBDD"/>
      </a:accent6>
      <a:hlink>
        <a:srgbClr val="424652"/>
      </a:hlink>
      <a:folHlink>
        <a:srgbClr val="424652"/>
      </a:folHlink>
    </a:clrScheme>
    <a:fontScheme name="CVP 1">
      <a:majorFont>
        <a:latin typeface="Henderson BCG Sans Light"/>
        <a:ea typeface=""/>
        <a:cs typeface=""/>
      </a:majorFont>
      <a:minorFont>
        <a:latin typeface="Henderson BCG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C2C2C"/>
        </a:solidFill>
        <a:ln w="9525" cap="rnd" cmpd="sng" algn="ctr">
          <a:solidFill>
            <a:srgbClr val="2C2C2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17974F467E37438C146AD78195A289" ma:contentTypeVersion="27" ma:contentTypeDescription="Create a new document." ma:contentTypeScope="" ma:versionID="e03602932086b18a40c6e416cb2a7f69">
  <xsd:schema xmlns:xsd="http://www.w3.org/2001/XMLSchema" xmlns:xs="http://www.w3.org/2001/XMLSchema" xmlns:p="http://schemas.microsoft.com/office/2006/metadata/properties" xmlns:ns1="http://schemas.microsoft.com/sharepoint/v3" xmlns:ns2="0991f213-3730-40e2-91ec-6de05b6aabb5" xmlns:ns3="36d2b8e5-71dc-415e-89f3-3c8649eed760" targetNamespace="http://schemas.microsoft.com/office/2006/metadata/properties" ma:root="true" ma:fieldsID="3833a751b348f4aa5ccc35fecd3b1d1f" ns1:_="" ns2:_="" ns3:_="">
    <xsd:import namespace="http://schemas.microsoft.com/sharepoint/v3"/>
    <xsd:import namespace="0991f213-3730-40e2-91ec-6de05b6aabb5"/>
    <xsd:import namespace="36d2b8e5-71dc-415e-89f3-3c8649eed7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Reader" minOccurs="0"/>
                <xsd:element ref="ns2:Level" minOccurs="0"/>
                <xsd:element ref="ns2:Region" minOccurs="0"/>
                <xsd:element ref="ns2:Insights" minOccurs="0"/>
                <xsd:element ref="ns2:Rec_x002f_Can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91f213-3730-40e2-91ec-6de05b6aab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ader" ma:index="23" nillable="true" ma:displayName="Reader" ma:description="Who from Design team has / wants to read this item" ma:format="Dropdown" ma:internalName="Reader">
      <xsd:simpleType>
        <xsd:restriction base="dms:Text">
          <xsd:maxLength value="255"/>
        </xsd:restriction>
      </xsd:simpleType>
    </xsd:element>
    <xsd:element name="Level" ma:index="24" nillable="true" ma:displayName="Level" ma:format="Dropdown" ma:internalName="Level">
      <xsd:simpleType>
        <xsd:restriction base="dms:Choice">
          <xsd:enumeration value="Campus"/>
          <xsd:enumeration value="Industry"/>
          <xsd:enumeration value="Exec"/>
          <xsd:enumeration value="other"/>
        </xsd:restriction>
      </xsd:simpleType>
    </xsd:element>
    <xsd:element name="Region" ma:index="25" nillable="true" ma:displayName="Region" ma:format="Dropdown" ma:internalName="Region">
      <xsd:simpleType>
        <xsd:restriction base="dms:Choice">
          <xsd:enumeration value="NAMR"/>
          <xsd:enumeration value="EMESA"/>
          <xsd:enumeration value="APAC"/>
          <xsd:enumeration value="Global"/>
        </xsd:restriction>
      </xsd:simpleType>
    </xsd:element>
    <xsd:element name="Insights" ma:index="26" nillable="true" ma:displayName="Insights" ma:description="A space to capture insights and highlights from the interview, to help us find sources if needed later." ma:format="Dropdown" ma:internalName="Insights">
      <xsd:simpleType>
        <xsd:restriction base="dms:Note">
          <xsd:maxLength value="255"/>
        </xsd:restriction>
      </xsd:simpleType>
    </xsd:element>
    <xsd:element name="Rec_x002f_Can" ma:index="27" nillable="true" ma:displayName="Rec / Can" ma:format="Dropdown" ma:internalName="Rec_x002f_Can">
      <xsd:simpleType>
        <xsd:restriction base="dms:Choice">
          <xsd:enumeration value="Recruiter"/>
          <xsd:enumeration value="Candidate"/>
        </xsd:restriction>
      </xsd:simpleType>
    </xsd:element>
    <xsd:element name="_Flow_SignoffStatus" ma:index="30" nillable="true" ma:displayName="Sign-off status" ma:internalName="Sign_x002d_off_x0020_status">
      <xsd:simpleType>
        <xsd:restriction base="dms:Text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d2b8e5-71dc-415e-89f3-3c8649eed76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3f2f81cf-8db6-41f8-8a1e-7000546bd34b}" ma:internalName="TaxCatchAll" ma:showField="CatchAllData" ma:web="36d2b8e5-71dc-415e-89f3-3c8649eed7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Reader xmlns="0991f213-3730-40e2-91ec-6de05b6aabb5" xsi:nil="true"/>
    <Region xmlns="0991f213-3730-40e2-91ec-6de05b6aabb5" xsi:nil="true"/>
    <Rec_x002f_Can xmlns="0991f213-3730-40e2-91ec-6de05b6aabb5" xsi:nil="true"/>
    <_ip_UnifiedCompliancePolicyProperties xmlns="http://schemas.microsoft.com/sharepoint/v3" xsi:nil="true"/>
    <TaxCatchAll xmlns="36d2b8e5-71dc-415e-89f3-3c8649eed760" xsi:nil="true"/>
    <lcf76f155ced4ddcb4097134ff3c332f xmlns="0991f213-3730-40e2-91ec-6de05b6aabb5">
      <Terms xmlns="http://schemas.microsoft.com/office/infopath/2007/PartnerControls"/>
    </lcf76f155ced4ddcb4097134ff3c332f>
    <Level xmlns="0991f213-3730-40e2-91ec-6de05b6aabb5" xsi:nil="true"/>
    <_Flow_SignoffStatus xmlns="0991f213-3730-40e2-91ec-6de05b6aabb5" xsi:nil="true"/>
    <Insights xmlns="0991f213-3730-40e2-91ec-6de05b6aabb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840AA5-2CC8-4E40-902E-5D33650F39C3}">
  <ds:schemaRefs>
    <ds:schemaRef ds:uri="0991f213-3730-40e2-91ec-6de05b6aabb5"/>
    <ds:schemaRef ds:uri="36d2b8e5-71dc-415e-89f3-3c8649eed7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B99EC60-916D-4F1B-A383-1BFB064D86CF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91f213-3730-40e2-91ec-6de05b6aabb5"/>
    <ds:schemaRef ds:uri="36d2b8e5-71dc-415e-89f3-3c8649eed760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9A4F684-1536-4B1E-A25B-6DFA3719B21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</TotalTime>
  <Words>122</Words>
  <Application>Microsoft Office PowerPoint</Application>
  <PresentationFormat>Widescreen</PresentationFormat>
  <Paragraphs>14</Paragraphs>
  <Slides>1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Arial</vt:lpstr>
      <vt:lpstr>Henderson BCG Mod Light</vt:lpstr>
      <vt:lpstr>Henderson BCG Sans</vt:lpstr>
      <vt:lpstr>Henderson BCG Sans Light</vt:lpstr>
      <vt:lpstr>Trebuchet MS</vt:lpstr>
      <vt:lpstr>BCG Beyond Grid 16:9 - 18608</vt:lpstr>
      <vt:lpstr>think-cell Slide</vt:lpstr>
      <vt:lpstr>Executive Summary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Costas Pinto</cp:lastModifiedBy>
  <cp:revision>3</cp:revision>
  <cp:lastPrinted>2016-04-06T18:59:25Z</cp:lastPrinted>
  <dcterms:created xsi:type="dcterms:W3CDTF">2016-11-04T11:46:04Z</dcterms:created>
  <dcterms:modified xsi:type="dcterms:W3CDTF">2025-08-03T16:14:4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4-15T13:27:29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0d326941-3c03-482c-9407-95d3a6880a3c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50, 3, 0, 1</vt:lpwstr>
  </property>
  <property fmtid="{D5CDD505-2E9C-101B-9397-08002B2CF9AE}" pid="15" name="ContentTypeId">
    <vt:lpwstr>0x0101008317974F467E37438C146AD78195A289</vt:lpwstr>
  </property>
  <property fmtid="{D5CDD505-2E9C-101B-9397-08002B2CF9AE}" pid="16" name="MediaServiceImageTags">
    <vt:lpwstr/>
  </property>
</Properties>
</file>